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8" r:id="rId2"/>
  </p:sldMasterIdLst>
  <p:notesMasterIdLst>
    <p:notesMasterId r:id="rId25"/>
  </p:notesMasterIdLst>
  <p:sldIdLst>
    <p:sldId id="261" r:id="rId3"/>
    <p:sldId id="15001170" r:id="rId4"/>
    <p:sldId id="15001174" r:id="rId5"/>
    <p:sldId id="15001171" r:id="rId6"/>
    <p:sldId id="15001172" r:id="rId7"/>
    <p:sldId id="301" r:id="rId8"/>
    <p:sldId id="330" r:id="rId9"/>
    <p:sldId id="308" r:id="rId10"/>
    <p:sldId id="15001155" r:id="rId11"/>
    <p:sldId id="314" r:id="rId12"/>
    <p:sldId id="15001168" r:id="rId13"/>
    <p:sldId id="15001173" r:id="rId14"/>
    <p:sldId id="323" r:id="rId15"/>
    <p:sldId id="329" r:id="rId16"/>
    <p:sldId id="324" r:id="rId17"/>
    <p:sldId id="305" r:id="rId18"/>
    <p:sldId id="325" r:id="rId19"/>
    <p:sldId id="15001175" r:id="rId20"/>
    <p:sldId id="15001176" r:id="rId21"/>
    <p:sldId id="15001177" r:id="rId22"/>
    <p:sldId id="15001178" r:id="rId23"/>
    <p:sldId id="15001179" r:id="rId24"/>
  </p:sldIdLst>
  <p:sldSz cx="12192000" cy="6858000"/>
  <p:notesSz cx="6858000" cy="99472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08" autoAdjust="0"/>
    <p:restoredTop sz="90482" autoAdjust="0"/>
  </p:normalViewPr>
  <p:slideViewPr>
    <p:cSldViewPr snapToGrid="0">
      <p:cViewPr varScale="1">
        <p:scale>
          <a:sx n="99" d="100"/>
          <a:sy n="99" d="100"/>
        </p:scale>
        <p:origin x="930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C:\Users\mynbaeva_zhk\Desktop\&#1094;&#1077;&#1085;&#1072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2001</c:v>
          </c:tx>
          <c:spPr>
            <a:solidFill>
              <a:schemeClr val="accent2">
                <a:tint val="3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Lit>
              <c:formatCode>General</c:formatCode>
              <c:ptCount val="1"/>
              <c:pt idx="0">
                <c:v>23637</c:v>
              </c:pt>
            </c:numLit>
          </c:val>
          <c:extLst>
            <c:ext xmlns:c16="http://schemas.microsoft.com/office/drawing/2014/chart" uri="{C3380CC4-5D6E-409C-BE32-E72D297353CC}">
              <c16:uniqueId val="{00000000-24A1-4DEE-ACDF-CC2D0DCA3D1D}"/>
            </c:ext>
          </c:extLst>
        </c:ser>
        <c:ser>
          <c:idx val="1"/>
          <c:order val="1"/>
          <c:tx>
            <c:v>2002</c:v>
          </c:tx>
          <c:spPr>
            <a:solidFill>
              <a:schemeClr val="accent2">
                <a:tint val="4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36757</c:v>
              </c:pt>
            </c:numLit>
          </c:val>
          <c:extLst>
            <c:ext xmlns:c16="http://schemas.microsoft.com/office/drawing/2014/chart" uri="{C3380CC4-5D6E-409C-BE32-E72D297353CC}">
              <c16:uniqueId val="{00000001-24A1-4DEE-ACDF-CC2D0DCA3D1D}"/>
            </c:ext>
          </c:extLst>
        </c:ser>
        <c:ser>
          <c:idx val="2"/>
          <c:order val="2"/>
          <c:tx>
            <c:v>2003</c:v>
          </c:tx>
          <c:spPr>
            <a:solidFill>
              <a:schemeClr val="accent2">
                <a:tint val="4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49675</c:v>
              </c:pt>
            </c:numLit>
          </c:val>
          <c:extLst>
            <c:ext xmlns:c16="http://schemas.microsoft.com/office/drawing/2014/chart" uri="{C3380CC4-5D6E-409C-BE32-E72D297353CC}">
              <c16:uniqueId val="{00000002-24A1-4DEE-ACDF-CC2D0DCA3D1D}"/>
            </c:ext>
          </c:extLst>
        </c:ser>
        <c:ser>
          <c:idx val="3"/>
          <c:order val="3"/>
          <c:tx>
            <c:v>2004</c:v>
          </c:tx>
          <c:spPr>
            <a:solidFill>
              <a:schemeClr val="accent2">
                <a:tint val="5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70069</c:v>
              </c:pt>
            </c:numLit>
          </c:val>
          <c:extLst>
            <c:ext xmlns:c16="http://schemas.microsoft.com/office/drawing/2014/chart" uri="{C3380CC4-5D6E-409C-BE32-E72D297353CC}">
              <c16:uniqueId val="{00000003-24A1-4DEE-ACDF-CC2D0DCA3D1D}"/>
            </c:ext>
          </c:extLst>
        </c:ser>
        <c:ser>
          <c:idx val="4"/>
          <c:order val="4"/>
          <c:tx>
            <c:v>2005</c:v>
          </c:tx>
          <c:spPr>
            <a:solidFill>
              <a:schemeClr val="accent2">
                <a:tint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92622</c:v>
              </c:pt>
            </c:numLit>
          </c:val>
          <c:extLst>
            <c:ext xmlns:c16="http://schemas.microsoft.com/office/drawing/2014/chart" uri="{C3380CC4-5D6E-409C-BE32-E72D297353CC}">
              <c16:uniqueId val="{00000004-24A1-4DEE-ACDF-CC2D0DCA3D1D}"/>
            </c:ext>
          </c:extLst>
        </c:ser>
        <c:ser>
          <c:idx val="5"/>
          <c:order val="5"/>
          <c:tx>
            <c:v>2006</c:v>
          </c:tx>
          <c:spPr>
            <a:solidFill>
              <a:schemeClr val="accent2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23897</c:v>
              </c:pt>
            </c:numLit>
          </c:val>
          <c:extLst>
            <c:ext xmlns:c16="http://schemas.microsoft.com/office/drawing/2014/chart" uri="{C3380CC4-5D6E-409C-BE32-E72D297353CC}">
              <c16:uniqueId val="{00000005-24A1-4DEE-ACDF-CC2D0DCA3D1D}"/>
            </c:ext>
          </c:extLst>
        </c:ser>
        <c:ser>
          <c:idx val="6"/>
          <c:order val="6"/>
          <c:tx>
            <c:v>2007</c:v>
          </c:tx>
          <c:spPr>
            <a:solidFill>
              <a:schemeClr val="accent2">
                <a:tint val="7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61346</c:v>
              </c:pt>
            </c:numLit>
          </c:val>
          <c:extLst>
            <c:ext xmlns:c16="http://schemas.microsoft.com/office/drawing/2014/chart" uri="{C3380CC4-5D6E-409C-BE32-E72D297353CC}">
              <c16:uniqueId val="{00000006-24A1-4DEE-ACDF-CC2D0DCA3D1D}"/>
            </c:ext>
          </c:extLst>
        </c:ser>
        <c:ser>
          <c:idx val="7"/>
          <c:order val="7"/>
          <c:tx>
            <c:v>2008</c:v>
          </c:tx>
          <c:spPr>
            <a:solidFill>
              <a:schemeClr val="accent2">
                <a:tint val="7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47469</c:v>
              </c:pt>
            </c:numLit>
          </c:val>
          <c:extLst>
            <c:ext xmlns:c16="http://schemas.microsoft.com/office/drawing/2014/chart" uri="{C3380CC4-5D6E-409C-BE32-E72D297353CC}">
              <c16:uniqueId val="{00000007-24A1-4DEE-ACDF-CC2D0DCA3D1D}"/>
            </c:ext>
          </c:extLst>
        </c:ser>
        <c:ser>
          <c:idx val="8"/>
          <c:order val="8"/>
          <c:tx>
            <c:v>2009</c:v>
          </c:tx>
          <c:spPr>
            <a:solidFill>
              <a:schemeClr val="accent2">
                <a:tint val="8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37279</c:v>
              </c:pt>
            </c:numLit>
          </c:val>
          <c:extLst>
            <c:ext xmlns:c16="http://schemas.microsoft.com/office/drawing/2014/chart" uri="{C3380CC4-5D6E-409C-BE32-E72D297353CC}">
              <c16:uniqueId val="{00000008-24A1-4DEE-ACDF-CC2D0DCA3D1D}"/>
            </c:ext>
          </c:extLst>
        </c:ser>
        <c:ser>
          <c:idx val="9"/>
          <c:order val="9"/>
          <c:tx>
            <c:v>2010</c:v>
          </c:tx>
          <c:spPr>
            <a:solidFill>
              <a:schemeClr val="accent2">
                <a:tint val="89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43903</c:v>
              </c:pt>
            </c:numLit>
          </c:val>
          <c:extLst>
            <c:ext xmlns:c16="http://schemas.microsoft.com/office/drawing/2014/chart" uri="{C3380CC4-5D6E-409C-BE32-E72D297353CC}">
              <c16:uniqueId val="{00000009-24A1-4DEE-ACDF-CC2D0DCA3D1D}"/>
            </c:ext>
          </c:extLst>
        </c:ser>
        <c:ser>
          <c:idx val="10"/>
          <c:order val="10"/>
          <c:tx>
            <c:v>2011</c:v>
          </c:tx>
          <c:spPr>
            <a:solidFill>
              <a:schemeClr val="accent2">
                <a:tint val="9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54123</c:v>
              </c:pt>
            </c:numLit>
          </c:val>
          <c:extLst>
            <c:ext xmlns:c16="http://schemas.microsoft.com/office/drawing/2014/chart" uri="{C3380CC4-5D6E-409C-BE32-E72D297353CC}">
              <c16:uniqueId val="{0000000A-24A1-4DEE-ACDF-CC2D0DCA3D1D}"/>
            </c:ext>
          </c:extLst>
        </c:ser>
        <c:ser>
          <c:idx val="11"/>
          <c:order val="11"/>
          <c:tx>
            <c:v>2012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72770</c:v>
              </c:pt>
            </c:numLit>
          </c:val>
          <c:extLst>
            <c:ext xmlns:c16="http://schemas.microsoft.com/office/drawing/2014/chart" uri="{C3380CC4-5D6E-409C-BE32-E72D297353CC}">
              <c16:uniqueId val="{0000000B-24A1-4DEE-ACDF-CC2D0DCA3D1D}"/>
            </c:ext>
          </c:extLst>
        </c:ser>
        <c:ser>
          <c:idx val="12"/>
          <c:order val="12"/>
          <c:tx>
            <c:v>2013</c:v>
          </c:tx>
          <c:spPr>
            <a:solidFill>
              <a:schemeClr val="accent2">
                <a:shade val="94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189124</c:v>
              </c:pt>
            </c:numLit>
          </c:val>
          <c:extLst>
            <c:ext xmlns:c16="http://schemas.microsoft.com/office/drawing/2014/chart" uri="{C3380CC4-5D6E-409C-BE32-E72D297353CC}">
              <c16:uniqueId val="{0000000C-24A1-4DEE-ACDF-CC2D0DCA3D1D}"/>
            </c:ext>
          </c:extLst>
        </c:ser>
        <c:ser>
          <c:idx val="13"/>
          <c:order val="13"/>
          <c:tx>
            <c:v>2014</c:v>
          </c:tx>
          <c:spPr>
            <a:solidFill>
              <a:schemeClr val="accent2">
                <a:shade val="88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15531</c:v>
              </c:pt>
            </c:numLit>
          </c:val>
          <c:extLst>
            <c:ext xmlns:c16="http://schemas.microsoft.com/office/drawing/2014/chart" uri="{C3380CC4-5D6E-409C-BE32-E72D297353CC}">
              <c16:uniqueId val="{0000000D-24A1-4DEE-ACDF-CC2D0DCA3D1D}"/>
            </c:ext>
          </c:extLst>
        </c:ser>
        <c:ser>
          <c:idx val="14"/>
          <c:order val="14"/>
          <c:tx>
            <c:v>2015</c:v>
          </c:tx>
          <c:spPr>
            <a:solidFill>
              <a:schemeClr val="accent2">
                <a:shade val="82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57531</c:v>
              </c:pt>
            </c:numLit>
          </c:val>
          <c:extLst>
            <c:ext xmlns:c16="http://schemas.microsoft.com/office/drawing/2014/chart" uri="{C3380CC4-5D6E-409C-BE32-E72D297353CC}">
              <c16:uniqueId val="{0000000E-24A1-4DEE-ACDF-CC2D0DCA3D1D}"/>
            </c:ext>
          </c:extLst>
        </c:ser>
        <c:ser>
          <c:idx val="15"/>
          <c:order val="15"/>
          <c:tx>
            <c:v>2016</c:v>
          </c:tx>
          <c:spPr>
            <a:solidFill>
              <a:schemeClr val="accent2">
                <a:shade val="76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47364</c:v>
              </c:pt>
            </c:numLit>
          </c:val>
          <c:extLst>
            <c:ext xmlns:c16="http://schemas.microsoft.com/office/drawing/2014/chart" uri="{C3380CC4-5D6E-409C-BE32-E72D297353CC}">
              <c16:uniqueId val="{0000000F-24A1-4DEE-ACDF-CC2D0DCA3D1D}"/>
            </c:ext>
          </c:extLst>
        </c:ser>
        <c:ser>
          <c:idx val="16"/>
          <c:order val="16"/>
          <c:tx>
            <c:v>2015</c:v>
          </c:tx>
          <c:spPr>
            <a:solidFill>
              <a:schemeClr val="accent2">
                <a:shade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57644</c:v>
              </c:pt>
            </c:numLit>
          </c:val>
          <c:extLst>
            <c:ext xmlns:c16="http://schemas.microsoft.com/office/drawing/2014/chart" uri="{C3380CC4-5D6E-409C-BE32-E72D297353CC}">
              <c16:uniqueId val="{00000010-24A1-4DEE-ACDF-CC2D0DCA3D1D}"/>
            </c:ext>
          </c:extLst>
        </c:ser>
        <c:ser>
          <c:idx val="17"/>
          <c:order val="17"/>
          <c:tx>
            <c:v>2016</c:v>
          </c:tx>
          <c:spPr>
            <a:solidFill>
              <a:schemeClr val="accent2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66863</c:v>
              </c:pt>
            </c:numLit>
          </c:val>
          <c:extLst>
            <c:ext xmlns:c16="http://schemas.microsoft.com/office/drawing/2014/chart" uri="{C3380CC4-5D6E-409C-BE32-E72D297353CC}">
              <c16:uniqueId val="{00000011-24A1-4DEE-ACDF-CC2D0DCA3D1D}"/>
            </c:ext>
          </c:extLst>
        </c:ser>
        <c:ser>
          <c:idx val="18"/>
          <c:order val="18"/>
          <c:tx>
            <c:v>2019</c:v>
          </c:tx>
          <c:spPr>
            <a:solidFill>
              <a:schemeClr val="accent2">
                <a:shade val="59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293518</c:v>
              </c:pt>
            </c:numLit>
          </c:val>
          <c:extLst>
            <c:ext xmlns:c16="http://schemas.microsoft.com/office/drawing/2014/chart" uri="{C3380CC4-5D6E-409C-BE32-E72D297353CC}">
              <c16:uniqueId val="{00000012-24A1-4DEE-ACDF-CC2D0DCA3D1D}"/>
            </c:ext>
          </c:extLst>
        </c:ser>
        <c:ser>
          <c:idx val="19"/>
          <c:order val="19"/>
          <c:tx>
            <c:v>2020</c:v>
          </c:tx>
          <c:spPr>
            <a:solidFill>
              <a:schemeClr val="accent2">
                <a:shade val="53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307600</c:v>
              </c:pt>
            </c:numLit>
          </c:val>
          <c:extLst>
            <c:ext xmlns:c16="http://schemas.microsoft.com/office/drawing/2014/chart" uri="{C3380CC4-5D6E-409C-BE32-E72D297353CC}">
              <c16:uniqueId val="{00000013-24A1-4DEE-ACDF-CC2D0DCA3D1D}"/>
            </c:ext>
          </c:extLst>
        </c:ser>
        <c:ser>
          <c:idx val="20"/>
          <c:order val="20"/>
          <c:tx>
            <c:v>2021</c:v>
          </c:tx>
          <c:spPr>
            <a:solidFill>
              <a:schemeClr val="accent2">
                <a:shade val="47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361269</c:v>
              </c:pt>
            </c:numLit>
          </c:val>
          <c:extLst>
            <c:ext xmlns:c16="http://schemas.microsoft.com/office/drawing/2014/chart" uri="{C3380CC4-5D6E-409C-BE32-E72D297353CC}">
              <c16:uniqueId val="{00000014-24A1-4DEE-ACDF-CC2D0DCA3D1D}"/>
            </c:ext>
          </c:extLst>
        </c:ser>
        <c:ser>
          <c:idx val="21"/>
          <c:order val="21"/>
          <c:tx>
            <c:v>2022</c:v>
          </c:tx>
          <c:spPr>
            <a:solidFill>
              <a:schemeClr val="accent2">
                <a:shade val="41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437459</c:v>
              </c:pt>
            </c:numLit>
          </c:val>
          <c:extLst>
            <c:ext xmlns:c16="http://schemas.microsoft.com/office/drawing/2014/chart" uri="{C3380CC4-5D6E-409C-BE32-E72D297353CC}">
              <c16:uniqueId val="{00000015-24A1-4DEE-ACDF-CC2D0DCA3D1D}"/>
            </c:ext>
          </c:extLst>
        </c:ser>
        <c:ser>
          <c:idx val="22"/>
          <c:order val="22"/>
          <c:tx>
            <c:v>2023</c:v>
          </c:tx>
          <c:spPr>
            <a:solidFill>
              <a:schemeClr val="accent2">
                <a:shade val="3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errBars>
            <c:errBarType val="both"/>
            <c:errValType val="stdErr"/>
            <c:noEndCap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cat>
            <c:strRef>
              <c:f>Парақ1!$B$1</c:f>
              <c:strCache>
                <c:ptCount val="1"/>
                <c:pt idx="0">
                  <c:v>Жаңа тұрғын үйдің жалпы ауданы бір шаршы метрге, қара сыбақ, әрленген пәтерлерді өткізудің орташа бағасы  (теңге)</c:v>
                </c:pt>
              </c:strCache>
            </c:strRef>
          </c:cat>
          <c:val>
            <c:numLit>
              <c:formatCode>General</c:formatCode>
              <c:ptCount val="1"/>
              <c:pt idx="0">
                <c:v>494898</c:v>
              </c:pt>
            </c:numLit>
          </c:val>
          <c:extLst>
            <c:ext xmlns:c16="http://schemas.microsoft.com/office/drawing/2014/chart" uri="{C3380CC4-5D6E-409C-BE32-E72D297353CC}">
              <c16:uniqueId val="{00000016-24A1-4DEE-ACDF-CC2D0DCA3D1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26747152"/>
        <c:axId val="1626757552"/>
      </c:barChart>
      <c:catAx>
        <c:axId val="1626747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626757552"/>
        <c:crosses val="autoZero"/>
        <c:auto val="1"/>
        <c:lblAlgn val="ctr"/>
        <c:lblOffset val="100"/>
        <c:tickLblSkip val="1"/>
        <c:noMultiLvlLbl val="0"/>
      </c:catAx>
      <c:valAx>
        <c:axId val="16267575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1626747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72548" cy="499432"/>
          </a:xfrm>
          <a:prstGeom prst="rect">
            <a:avLst/>
          </a:prstGeom>
        </p:spPr>
        <p:txBody>
          <a:bodyPr vert="horz" lIns="91828" tIns="45916" rIns="91828" bIns="4591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3852" y="0"/>
            <a:ext cx="2972548" cy="499432"/>
          </a:xfrm>
          <a:prstGeom prst="rect">
            <a:avLst/>
          </a:prstGeom>
        </p:spPr>
        <p:txBody>
          <a:bodyPr vert="horz" lIns="91828" tIns="45916" rIns="91828" bIns="45916" rtlCol="0"/>
          <a:lstStyle>
            <a:lvl1pPr algn="r">
              <a:defRPr sz="1200"/>
            </a:lvl1pPr>
          </a:lstStyle>
          <a:p>
            <a:fld id="{650D080B-BA9D-403C-9BA6-CB4A694F06FA}" type="datetimeFigureOut">
              <a:rPr lang="ru-RU" smtClean="0"/>
              <a:t>08.11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6088" y="1244600"/>
            <a:ext cx="5965825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28" tIns="45916" rIns="91828" bIns="4591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483" y="4787544"/>
            <a:ext cx="5487041" cy="3915924"/>
          </a:xfrm>
          <a:prstGeom prst="rect">
            <a:avLst/>
          </a:prstGeom>
        </p:spPr>
        <p:txBody>
          <a:bodyPr vert="horz" lIns="91828" tIns="45916" rIns="91828" bIns="4591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7845"/>
            <a:ext cx="2972548" cy="499432"/>
          </a:xfrm>
          <a:prstGeom prst="rect">
            <a:avLst/>
          </a:prstGeom>
        </p:spPr>
        <p:txBody>
          <a:bodyPr vert="horz" lIns="91828" tIns="45916" rIns="91828" bIns="4591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3852" y="9447845"/>
            <a:ext cx="2972548" cy="499432"/>
          </a:xfrm>
          <a:prstGeom prst="rect">
            <a:avLst/>
          </a:prstGeom>
        </p:spPr>
        <p:txBody>
          <a:bodyPr vert="horz" lIns="91828" tIns="45916" rIns="91828" bIns="45916" rtlCol="0" anchor="b"/>
          <a:lstStyle>
            <a:lvl1pPr algn="r">
              <a:defRPr sz="1200"/>
            </a:lvl1pPr>
          </a:lstStyle>
          <a:p>
            <a:fld id="{BCE331BD-3BEE-4067-9D16-AE89B49EEE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344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4516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0643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72169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25215">
              <a:defRPr/>
            </a:pPr>
            <a:fld id="{BCE331BD-3BEE-4067-9D16-AE89B49EEE74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925215">
                <a:defRPr/>
              </a:pPr>
              <a:t>12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732268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44280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998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E331BD-3BEE-4067-9D16-AE89B49EEE7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24898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33413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73316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5617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41033457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08891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9095219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42727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1533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550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94568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23012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6751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4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25129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3243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4446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67077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3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61336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6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4786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84203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8622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3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26270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88299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39501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370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16018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26162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1236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3442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6160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97807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7589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лған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ctr">
              <a:defRPr/>
            </a:pP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4800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селелері</a:t>
            </a: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 </a:t>
            </a:r>
            <a:r>
              <a:rPr lang="ru-RU" sz="1800" i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сы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ша</a:t>
            </a:r>
            <a:endParaRPr lang="ru-RU" sz="1800" i="1" kern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00838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абылмайты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ұлғалар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нбайты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йналымды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кеңейту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0</a:t>
            </a:fld>
            <a:endParaRPr lang="en-US" sz="105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321501" y="1199564"/>
            <a:ext cx="11452965" cy="46474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363538" algn="just" defTabSz="914377"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інд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уг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пай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895350" lvl="0" indent="-3556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ка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с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л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отариус,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от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шысы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двокат,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би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диатор)</a:t>
            </a:r>
          </a:p>
          <a:p>
            <a:pPr marL="539750" lvl="0" indent="3556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indent="363538" algn="just" defTabSz="914377">
              <a:buFont typeface="Arial" panose="020B0604020202020204" pitchFamily="34" charset="0"/>
              <a:buChar char="•"/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indent="363538" algn="just" defTabSz="914377">
              <a:buFont typeface="Wingdings" panose="05000000000000000000" pitchFamily="2" charset="2"/>
              <a:buChar char="Ø"/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дар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с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ынадай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м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тырыл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539750" lvl="0" indent="3556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усі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М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млекеттік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</a:t>
            </a:r>
          </a:p>
          <a:p>
            <a:pPr marL="895350" lvl="0" indent="-3556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ми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е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усі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0" indent="3556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ікте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т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т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се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0" indent="3556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т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ң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-серікте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вокатт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герл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е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914377"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363538" algn="just" defTabSz="914377">
              <a:buFont typeface="Wingdings" panose="05000000000000000000" pitchFamily="2" charset="2"/>
              <a:buChar char="Ø"/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н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ес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перациялар алынып тасталды:</a:t>
            </a:r>
          </a:p>
          <a:p>
            <a:pPr marL="539750" indent="3556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бе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терл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К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5350" indent="-355600" algn="just" defTabSz="914377"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ш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ртыл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нергия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здер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ъектілер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нергияс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усі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і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0977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ҚҚС-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осатудың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жаңа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шарттары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жаңа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1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77175" y="1295424"/>
            <a:ext cx="11390773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-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ңа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ар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42900" lvl="4" indent="379413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тт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к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уризм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операто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366713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МККК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ӘМС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л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ндай-а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л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д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қтауыш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бал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р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қтаушылар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алқ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шектеріні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мпорты ҚҚС-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ылады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45977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>
              <a:defRPr/>
            </a:pPr>
            <a:r>
              <a:rPr lang="ru-RU" sz="26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лған</a:t>
            </a:r>
            <a:r>
              <a:rPr lang="ru-RU" sz="2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тері</a:t>
            </a:r>
            <a:r>
              <a:rPr lang="ru-RU" sz="2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2600" b="1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26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kumimoji="0" lang="en-US" sz="26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1699" y="1109855"/>
            <a:ext cx="11668602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йы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мақтар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kumimoji="0" lang="ru-RU" sz="16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Астана </a:t>
            </a:r>
            <a:r>
              <a:rPr kumimoji="0" lang="ru-RU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аб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кінің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аты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kumimoji="0" lang="ru-RU" sz="160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зартылға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тын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ғын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аты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г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інің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ауарларын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а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ғ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ік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лдар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ыл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уашылығ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с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мыстық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ехника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endParaRPr lang="en-US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kk-KZ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ржылық операциялар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Б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ӨҚҚ,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қтандыру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МӘСҚ, ипотека,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икрокредиттер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вест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тын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лап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ту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қығын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еру,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ндық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ктивтер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и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52438" lvl="4" indent="-452438" algn="just">
              <a:spcBef>
                <a:spcPts val="18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ржылық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лизинг</a:t>
            </a:r>
          </a:p>
          <a:p>
            <a:pPr marL="0" lvl="4" algn="just">
              <a:spcBef>
                <a:spcPts val="18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kumimoji="0" lang="ru-RU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2060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н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3</a:t>
            </a:fld>
            <a:endParaRPr lang="en-US" sz="105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9209236" y="1929497"/>
            <a:ext cx="150252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ы</a:t>
            </a:r>
            <a:r>
              <a:rPr lang="ru-RU" dirty="0"/>
              <a:t> 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231900" y="1967013"/>
            <a:ext cx="1125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ікті</a:t>
            </a:r>
            <a:endParaRPr lang="ru-RU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5053299" y="1908779"/>
            <a:ext cx="15377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b="1" dirty="0"/>
              <a:t> 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448524" y="2430010"/>
            <a:ext cx="32722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телд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аңдары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870433" y="2439916"/>
            <a:ext cx="29732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іне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ен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648452" y="2430010"/>
            <a:ext cx="32545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нн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қ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+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550819" y="3516326"/>
            <a:ext cx="1098040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і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метрия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тенді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қыт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еді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4871978" y="4140977"/>
            <a:ext cx="647792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кеме</a:t>
            </a:r>
            <a:endParaRPr 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ның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сі</a:t>
            </a:r>
            <a:endParaRPr 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каме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саты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</a:t>
            </a:r>
            <a:endParaRPr 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ул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endParaRPr 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</a:t>
            </a:r>
            <a:endParaRPr lang="ru-RU" sz="14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5802" y="4604278"/>
            <a:ext cx="391101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ctr">
              <a:buFont typeface="Wingdings" panose="05000000000000000000" pitchFamily="2" charset="2"/>
              <a:buChar char="Ø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ғ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пайды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авая фигурная скобка 15">
            <a:extLst>
              <a:ext uri="{FF2B5EF4-FFF2-40B4-BE49-F238E27FC236}">
                <a16:creationId xmlns:a16="http://schemas.microsoft.com/office/drawing/2014/main" id="{125B16CE-0B9A-4277-BC90-B2243C0B539A}"/>
              </a:ext>
            </a:extLst>
          </p:cNvPr>
          <p:cNvSpPr/>
          <p:nvPr/>
        </p:nvSpPr>
        <p:spPr>
          <a:xfrm rot="10800000">
            <a:off x="4218854" y="4172260"/>
            <a:ext cx="481090" cy="1477329"/>
          </a:xfrm>
          <a:prstGeom prst="rightBrace">
            <a:avLst>
              <a:gd name="adj1" fmla="val 114144"/>
              <a:gd name="adj2" fmla="val 51319"/>
            </a:avLst>
          </a:prstGeom>
          <a:ln w="38100">
            <a:solidFill>
              <a:schemeClr val="accent3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0498" y="5966969"/>
            <a:ext cx="1105043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10.2024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4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– 2,6 млн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,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йы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шылар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– 2,5 млн.</a:t>
            </a:r>
            <a:endParaRPr lang="ru-RU" sz="1400" b="1" i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53517" y="1280203"/>
            <a:ext cx="64190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000 АЕК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3782294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ойылмағ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шаралар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қабылдау</a:t>
            </a: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65436" y="1087855"/>
            <a:ext cx="11461127" cy="55707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ер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ыл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г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бін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берілед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ЖК, ЛЗЧП, ҚҚС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інде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just"/>
            <a:endParaRPr lang="ru-RU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есідей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ла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895350" indent="-269875" algn="just">
              <a:buFont typeface="Wingdings" panose="05000000000000000000" pitchFamily="2" charset="2"/>
              <a:buChar char="ü"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ушылықп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к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95350" indent="-269875" algn="just">
              <a:buFont typeface="Wingdings" panose="05000000000000000000" pitchFamily="2" charset="2"/>
              <a:buChar char="ü"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ушылықп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пег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айты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ар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лердің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қтығ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іктем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ді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7212" indent="-285750" algn="just">
              <a:buFont typeface="Wingdings" pitchFamily="2" charset="2"/>
              <a:buChar char="Ø"/>
            </a:pPr>
            <a:endParaRPr lang="ru-RU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57212" indent="-285750" algn="just">
              <a:buFont typeface="Wingdings" pitchFamily="2" charset="2"/>
              <a:buChar char="Ø"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лмаға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ылад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895350" indent="-269875">
              <a:buFont typeface="Wingdings" panose="05000000000000000000" pitchFamily="2" charset="2"/>
              <a:buChar char="ü"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ері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ылд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тер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-банктік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оттар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ы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ылады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телдік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ания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ҚР – да интернет-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тарға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жетімділік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еледі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895350" indent="-269875">
              <a:buFont typeface="Wingdings" panose="05000000000000000000" pitchFamily="2" charset="2"/>
              <a:buChar char="ü"/>
            </a:pP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індірмед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ліксіз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лелдер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,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арме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алмаған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Ж-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ғы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р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ге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ш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е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жаттық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еді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271462"/>
            <a:endParaRPr lang="ru-RU" sz="1100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2"/>
            <a:endParaRPr lang="ru-RU" sz="1100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indent="442913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</a:t>
            </a:r>
            <a:r>
              <a:rPr lang="ru-RU" sz="14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т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жей-тегжейл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ыңғай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ханизм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ылдануд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1077913" lvl="4" indent="-269875" algn="just"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-орындауғ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сын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ушылықтард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ю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берілед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077913" lvl="4" indent="-269875" algn="just"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ы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-механизм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1077913" lvl="4" indent="-269875" algn="just"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.есепк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-камералдық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14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endParaRPr lang="ru-RU" sz="1400" i="1" kern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indent="442913" algn="just"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40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924558" y="3820921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ru-RU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8564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өлеушін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есебіне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шығару</a:t>
            </a:r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5</a:t>
            </a:fld>
            <a:endParaRPr lang="en-US" sz="105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71517" y="1445298"/>
            <a:ext cx="1115970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у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ғ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дей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н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ул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ул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71517" y="2501592"/>
            <a:ext cx="111597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ні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т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3795" y="2883793"/>
            <a:ext cx="1110219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К, ЗТ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ротты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ЖТ, ЖК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т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ы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 ЖК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мсы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у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псы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іс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ЗТ-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ікті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ы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стыр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ра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ініш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7050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ЭШФ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азылуы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6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00968" y="1316083"/>
            <a:ext cx="11390063" cy="48936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 ЭСФ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Т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ры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ҚМ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ед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з 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. б. ҚҚС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да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д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. б.)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ШФ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лғанн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ай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д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ады</a:t>
            </a:r>
            <a:endParaRPr lang="ru-RU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-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алансы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н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ШФ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зін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ірмес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Балан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ліксі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тыр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ШФ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ылма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ыла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у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шіленді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тик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Балан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ШФ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л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ҚМ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ҚР ҚМ  100%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шілес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АО «ИУЦ»)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69980" y="3525509"/>
            <a:ext cx="11390063" cy="861774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балансы ҚҚС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ын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ыптастырылад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ШФ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+ </a:t>
            </a:r>
            <a:r>
              <a:rPr lang="ru-RU" sz="1600" b="1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г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+ </a:t>
            </a:r>
            <a:r>
              <a:rPr lang="ru-RU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+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ды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–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ру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ды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лға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ШФ – ҚҚС)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070616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ЭШФ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еруд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оқтата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ұру</a:t>
            </a:r>
            <a:endParaRPr lang="en-US" sz="2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17655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939586" y="1149411"/>
            <a:ext cx="5884239" cy="46705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2575" lvl="4" algn="ctr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 СЕБЕПТЕР БОЙЫНША: </a:t>
            </a:r>
            <a:endParaRPr lang="kk-KZ" sz="16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ctr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8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уы;алт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й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гі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бау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8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нің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у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8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К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д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д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мсыз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уЗТ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К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шыс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ад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8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телдік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ығ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бек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изнес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засын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ұқсатсыз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8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Р ҚК-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ің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16, 238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45-баптары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тталғандарғ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здестіруг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ияланғандарғ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8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-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шарсыз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тке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екетсіз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ылға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К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ыс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д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ыс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д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ылд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екетк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ілетсіз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екет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білет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еул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endParaRPr lang="ru-RU" sz="8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екетсіз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ылға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Т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шыс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тайшыс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ылд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625475" lvl="4" indent="-263525" algn="just">
              <a:spcBef>
                <a:spcPts val="3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0650" algn="l"/>
              </a:tabLst>
              <a:defRPr/>
            </a:pPr>
            <a:endParaRPr lang="ru-RU" sz="14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200" b="1" i="1" kern="0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2575" lvl="4" algn="just">
              <a:spcBef>
                <a:spcPts val="3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2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</a:t>
            </a:r>
            <a:r>
              <a:rPr lang="ru-RU" sz="12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те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н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ру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тігі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cxnSp>
        <p:nvCxnSpPr>
          <p:cNvPr id="6" name="Прямая соединительная линия 3">
            <a:extLst>
              <a:ext uri="{FF2B5EF4-FFF2-40B4-BE49-F238E27FC236}">
                <a16:creationId xmlns:a16="http://schemas.microsoft.com/office/drawing/2014/main" id="{33EF3CB8-F416-4278-8646-A04DA7365D4D}"/>
              </a:ext>
            </a:extLst>
          </p:cNvPr>
          <p:cNvCxnSpPr>
            <a:cxnSpLocks/>
          </p:cNvCxnSpPr>
          <p:nvPr/>
        </p:nvCxnSpPr>
        <p:spPr>
          <a:xfrm flipV="1">
            <a:off x="5941779" y="928452"/>
            <a:ext cx="35999" cy="5294773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28982" y="1118370"/>
            <a:ext cx="5272508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ШФ САЛЫСТЫРМАЛЫ БАҚЫЛАУ ШЕҢБЕРІНДЕ</a:t>
            </a:r>
          </a:p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kk-KZ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мәнд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мілелер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ға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д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д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ның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қт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лғаны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ау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беріледі</a:t>
            </a:r>
            <a:endParaRPr lang="ru-RU" sz="14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н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маға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ушылықтар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йылғанғ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Ф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зінд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шірмес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ыл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ды</a:t>
            </a:r>
            <a:endParaRPr lang="ru-RU" sz="14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ны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маған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дің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ім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әкілетт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ның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тернет-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урсынд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ластырыладысаты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шыларғ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мәнд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рысулар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беріледі</a:t>
            </a:r>
            <a:endParaRPr lang="ru-RU" sz="14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kk-KZ" sz="14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000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200" b="1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ма</a:t>
            </a:r>
            <a:r>
              <a:rPr lang="ru-RU" sz="1200" b="1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те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ханизм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мералдық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ежесі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лар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kern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200" i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70781" y="6223225"/>
            <a:ext cx="1105043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kk-KZ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 б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ушылықтар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бептер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йылға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ШФ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ді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а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у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ж. к.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йылады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79071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лектрондық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от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фактура (ЭШФ)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58476" y="1048533"/>
            <a:ext cx="11351721" cy="54014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лектрондық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от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фактура (ЭШФ) экспедитор мен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иссионердің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ЭШФ-да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ыйақы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масы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ек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олм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індетт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үрд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өрсетуі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саға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ұмыстар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өрсетк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ызметтер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ЭШФ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зы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руг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індеті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өтенш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ғдай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інд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от-фактураны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ғаз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сығышт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зы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еру, оны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йінн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үйег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0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тізбелік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шінд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нгіз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үмкіндігі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ла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ЭШФ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зы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еру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5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тізбелік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г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йі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ысқартылды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ты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ушының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үзетілг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осым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мес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р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ы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ынға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ЭШФ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ШФ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уытқ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ртібі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згертуі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-ты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к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тқыз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ЭШФ-да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лгін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індетт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үрд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өрсет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лабы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48834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ып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ткен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масын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153445" y="928452"/>
            <a:ext cx="11647489" cy="38702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4" indent="-285750" algn="just" defTabSz="914400" rtl="0" eaLnBrk="1" fontAlgn="auto" latinLnBrk="0" hangingPunct="1">
              <a:lnSpc>
                <a:spcPct val="15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ҚҚС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ып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ткен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масын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533400" marR="0" lvl="4" indent="-352425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өлдік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өлшерлеме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экспорт, </a:t>
            </a:r>
            <a:r>
              <a:rPr kumimoji="0" lang="ru-RU" sz="17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алықаралық</a:t>
            </a:r>
            <a:r>
              <a:rPr kumimoji="0" lang="ru-RU" sz="17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сымалдар</a:t>
            </a:r>
            <a:r>
              <a:rPr kumimoji="0" lang="ru-RU" sz="17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АЭА-</a:t>
            </a:r>
            <a:r>
              <a:rPr kumimoji="0" lang="ru-RU" sz="17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ға</a:t>
            </a:r>
            <a:r>
              <a:rPr kumimoji="0" lang="ru-RU" sz="17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ткізу</a:t>
            </a:r>
            <a:r>
              <a:rPr kumimoji="0" lang="ru-RU" sz="17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СТ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ңдауы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лпыға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рдей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лгіленген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ртіппен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ҚЖБТ)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месе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ңатайландырған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ртіппен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ҚОТ)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533400" marR="0" lvl="4" indent="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)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өлдік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өлшерлеме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ұрақты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ткізу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інде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ҚҚС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ып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ткен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ома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533400" marR="0" lvl="4" indent="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)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ұрақты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ткізу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үргізілмеге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ғдайда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өлдік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өлшерлеме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наты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ткізу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йналым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қсаттары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үші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йдаланылға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ТЖҚ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ке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тқызылға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масының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р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өлігі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4" indent="0" algn="ctr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ұрақты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ткізу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– 3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қса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тарына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өлдік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өлшерлеменің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үлесі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70%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уы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рек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533400" marR="0" lvl="4" indent="-352425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ер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ойнауын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йдалануға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рналған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лісімшарт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еңберінде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еологиялық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рлауға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рналған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ығындар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ндіру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талғанна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йінгі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еңі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шінде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sz="17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БТ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533400" marR="0" lvl="4" indent="-352425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ұзақ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ді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лісімшарт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рылыс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ығындары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йдалануға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рілгенне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йін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0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еңі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шінде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ал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рі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вестициялық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обалар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рылыс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еңінде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55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.к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400" b="1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шінде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 </a:t>
            </a: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БТ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үргізіледі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153445" y="4799196"/>
            <a:ext cx="11647489" cy="1700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тілігін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ұсыну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йінге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лдыруды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ып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стау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ін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р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йға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ысқартады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зір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йінге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лдыру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яқталған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нен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талады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ып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ткен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маны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ақтылы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маған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7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де</a:t>
            </a:r>
            <a:r>
              <a:rPr kumimoji="0" lang="ru-RU" sz="17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452438" marR="0" lvl="4" indent="-269875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ганының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інәсінен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сімпұлдар</a:t>
            </a:r>
            <a:r>
              <a:rPr kumimoji="0" lang="ru-RU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теледі</a:t>
            </a:r>
            <a:endParaRPr kumimoji="0" lang="ru-RU" sz="1600" b="1" i="1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42913" marR="0" lvl="4" indent="-261938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юджетте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ражат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еткіліксіз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ған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ғдайда</a:t>
            </a:r>
            <a:r>
              <a:rPr kumimoji="0" lang="ru-RU" sz="1600" b="0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сімпұлдар</a:t>
            </a:r>
            <a:r>
              <a:rPr kumimoji="0" lang="ru-RU" sz="1600" b="1" i="1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1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телмейді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418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2</a:t>
            </a:fld>
            <a:endParaRPr lang="en-US" sz="1050" dirty="0"/>
          </a:p>
        </p:txBody>
      </p:sp>
      <p:sp>
        <p:nvSpPr>
          <p:cNvPr id="3" name="Блок-схема: узел 2">
            <a:extLst>
              <a:ext uri="{FF2B5EF4-FFF2-40B4-BE49-F238E27FC236}">
                <a16:creationId xmlns:a16="http://schemas.microsoft.com/office/drawing/2014/main" id="{C5AA75A9-3A2A-42EA-9BBB-7CAEC8E0C343}"/>
              </a:ext>
            </a:extLst>
          </p:cNvPr>
          <p:cNvSpPr/>
          <p:nvPr/>
        </p:nvSpPr>
        <p:spPr>
          <a:xfrm>
            <a:off x="383178" y="1341120"/>
            <a:ext cx="2090056" cy="2002971"/>
          </a:xfrm>
          <a:prstGeom prst="flowChartConnector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4000" dirty="0">
                <a:solidFill>
                  <a:srgbClr val="002060"/>
                </a:solidFill>
              </a:rPr>
              <a:t>ҚҚС</a:t>
            </a:r>
            <a:endParaRPr lang="x-none" sz="4000" dirty="0">
              <a:solidFill>
                <a:srgbClr val="002060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ADDED28-95B5-462B-851E-3A5ABA04706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0949" y="1163425"/>
            <a:ext cx="1173523" cy="102264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81965E8-765A-4BEB-9A50-CB8E9576AF59}"/>
              </a:ext>
            </a:extLst>
          </p:cNvPr>
          <p:cNvSpPr txBox="1"/>
          <p:nvPr/>
        </p:nvSpPr>
        <p:spPr>
          <a:xfrm>
            <a:off x="3779520" y="1262743"/>
            <a:ext cx="8107679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</a:rPr>
              <a:t>ҚҚС - </a:t>
            </a:r>
            <a:r>
              <a:rPr lang="ru-RU" dirty="0" err="1">
                <a:solidFill>
                  <a:srgbClr val="002060"/>
                </a:solidFill>
              </a:rPr>
              <a:t>жанама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салық</a:t>
            </a:r>
            <a:r>
              <a:rPr lang="ru-RU" dirty="0">
                <a:solidFill>
                  <a:srgbClr val="002060"/>
                </a:solidFill>
              </a:rPr>
              <a:t> бола </a:t>
            </a:r>
            <a:r>
              <a:rPr lang="ru-RU" dirty="0" err="1">
                <a:solidFill>
                  <a:srgbClr val="002060"/>
                </a:solidFill>
              </a:rPr>
              <a:t>отырып</a:t>
            </a:r>
            <a:r>
              <a:rPr lang="ru-RU" dirty="0">
                <a:solidFill>
                  <a:srgbClr val="002060"/>
                </a:solidFill>
              </a:rPr>
              <a:t>,  </a:t>
            </a:r>
            <a:r>
              <a:rPr lang="ru-RU" dirty="0" err="1">
                <a:solidFill>
                  <a:srgbClr val="002060"/>
                </a:solidFill>
              </a:rPr>
              <a:t>өндіріс</a:t>
            </a:r>
            <a:r>
              <a:rPr lang="ru-RU" dirty="0">
                <a:solidFill>
                  <a:srgbClr val="002060"/>
                </a:solidFill>
              </a:rPr>
              <a:t> пен </a:t>
            </a:r>
            <a:r>
              <a:rPr lang="ru-RU" dirty="0" err="1">
                <a:solidFill>
                  <a:srgbClr val="002060"/>
                </a:solidFill>
              </a:rPr>
              <a:t>өткізу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процесінің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барлық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кезеңдеріне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таралып</a:t>
            </a:r>
            <a:r>
              <a:rPr lang="ru-RU" dirty="0">
                <a:solidFill>
                  <a:srgbClr val="002060"/>
                </a:solidFill>
              </a:rPr>
              <a:t>, </a:t>
            </a:r>
            <a:r>
              <a:rPr lang="ru-RU" dirty="0" err="1">
                <a:solidFill>
                  <a:srgbClr val="002060"/>
                </a:solidFill>
              </a:rPr>
              <a:t>өзінің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базасына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тауарлардың</a:t>
            </a:r>
            <a:r>
              <a:rPr lang="ru-RU" dirty="0">
                <a:solidFill>
                  <a:srgbClr val="002060"/>
                </a:solidFill>
              </a:rPr>
              <a:t>, </a:t>
            </a:r>
            <a:r>
              <a:rPr lang="ru-RU" dirty="0" err="1">
                <a:solidFill>
                  <a:srgbClr val="002060"/>
                </a:solidFill>
              </a:rPr>
              <a:t>жұмыстардың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және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қызметтердің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барлық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түрлерін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қамтитын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көп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сатылы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салық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A1C73BD-77E3-485E-9414-306B4183B91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4569" y="5008698"/>
            <a:ext cx="823031" cy="97821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5710D16-4078-46A3-A860-11AD41128521}"/>
              </a:ext>
            </a:extLst>
          </p:cNvPr>
          <p:cNvSpPr txBox="1"/>
          <p:nvPr/>
        </p:nvSpPr>
        <p:spPr>
          <a:xfrm>
            <a:off x="3779519" y="2520364"/>
            <a:ext cx="8107679" cy="9233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</a:rPr>
              <a:t> ҚҚС салу </a:t>
            </a:r>
            <a:r>
              <a:rPr lang="ru-RU" dirty="0" err="1">
                <a:solidFill>
                  <a:srgbClr val="002060"/>
                </a:solidFill>
              </a:rPr>
              <a:t>объектілері</a:t>
            </a:r>
            <a:r>
              <a:rPr lang="ru-RU" dirty="0">
                <a:solidFill>
                  <a:srgbClr val="002060"/>
                </a:solidFill>
              </a:rPr>
              <a:t>: </a:t>
            </a:r>
          </a:p>
          <a:p>
            <a:pPr marL="452438" indent="269875">
              <a:buFont typeface="Wingdings" pitchFamily="2" charset="2"/>
              <a:buChar char="ü"/>
            </a:pPr>
            <a:r>
              <a:rPr lang="ru-RU" dirty="0" err="1">
                <a:solidFill>
                  <a:srgbClr val="002060"/>
                </a:solidFill>
              </a:rPr>
              <a:t>салық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салынатын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айналым</a:t>
            </a:r>
            <a:r>
              <a:rPr lang="ru-RU" dirty="0">
                <a:solidFill>
                  <a:srgbClr val="002060"/>
                </a:solidFill>
              </a:rPr>
              <a:t> </a:t>
            </a:r>
          </a:p>
          <a:p>
            <a:pPr marL="452438" indent="269875">
              <a:buFont typeface="Wingdings" pitchFamily="2" charset="2"/>
              <a:buChar char="ü"/>
            </a:pPr>
            <a:r>
              <a:rPr lang="ru-RU" dirty="0" err="1">
                <a:solidFill>
                  <a:srgbClr val="002060"/>
                </a:solidFill>
              </a:rPr>
              <a:t>салық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салынатын</a:t>
            </a:r>
            <a:r>
              <a:rPr lang="ru-RU" dirty="0">
                <a:solidFill>
                  <a:srgbClr val="002060"/>
                </a:solidFill>
              </a:rPr>
              <a:t> импорт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5AC74EC-9C1A-45B6-A2DA-6D11445965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4569" y="3767298"/>
            <a:ext cx="823031" cy="816935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99E6DBB-35C6-44D7-97C5-4AA1896799DA}"/>
              </a:ext>
            </a:extLst>
          </p:cNvPr>
          <p:cNvSpPr txBox="1"/>
          <p:nvPr/>
        </p:nvSpPr>
        <p:spPr>
          <a:xfrm>
            <a:off x="3779518" y="3777985"/>
            <a:ext cx="8107679" cy="120032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Түпкілікті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тұтынудың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салық</a:t>
            </a:r>
            <a:r>
              <a:rPr lang="ru-RU" dirty="0">
                <a:solidFill>
                  <a:srgbClr val="002060"/>
                </a:solidFill>
              </a:rPr>
              <a:t> салу </a:t>
            </a:r>
            <a:r>
              <a:rPr lang="ru-RU" dirty="0" err="1">
                <a:solidFill>
                  <a:srgbClr val="002060"/>
                </a:solidFill>
              </a:rPr>
              <a:t>тұжырымдамасы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қосу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арқылы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жүзеге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асырылады</a:t>
            </a:r>
            <a:r>
              <a:rPr lang="ru-RU" dirty="0">
                <a:solidFill>
                  <a:srgbClr val="002060"/>
                </a:solidFill>
              </a:rPr>
              <a:t> </a:t>
            </a:r>
          </a:p>
          <a:p>
            <a:pPr marL="722313" indent="-269875">
              <a:buFont typeface="Wingdings" pitchFamily="2" charset="2"/>
              <a:buChar char="ü"/>
            </a:pPr>
            <a:r>
              <a:rPr lang="ru-RU" dirty="0" err="1">
                <a:solidFill>
                  <a:srgbClr val="002060"/>
                </a:solidFill>
              </a:rPr>
              <a:t>өндіріс-өткізу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тізбегінің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әрбір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буынындағы</a:t>
            </a:r>
            <a:r>
              <a:rPr lang="ru-RU" dirty="0">
                <a:solidFill>
                  <a:srgbClr val="002060"/>
                </a:solidFill>
              </a:rPr>
              <a:t> ҚҚС 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 err="1">
                <a:solidFill>
                  <a:srgbClr val="002060"/>
                </a:solidFill>
              </a:rPr>
              <a:t>кіріс</a:t>
            </a:r>
            <a:r>
              <a:rPr lang="ru-RU" dirty="0">
                <a:solidFill>
                  <a:srgbClr val="002060"/>
                </a:solidFill>
              </a:rPr>
              <a:t> ҚҚС </a:t>
            </a:r>
            <a:r>
              <a:rPr lang="ru-RU" dirty="0" err="1">
                <a:solidFill>
                  <a:srgbClr val="002060"/>
                </a:solidFill>
              </a:rPr>
              <a:t>есепке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жатқызу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каскадтық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әсердің</a:t>
            </a:r>
            <a:r>
              <a:rPr lang="ru-RU" dirty="0">
                <a:solidFill>
                  <a:srgbClr val="002060"/>
                </a:solidFill>
              </a:rPr>
              <a:t>  </a:t>
            </a:r>
            <a:r>
              <a:rPr lang="ru-RU" dirty="0" err="1">
                <a:solidFill>
                  <a:srgbClr val="002060"/>
                </a:solidFill>
              </a:rPr>
              <a:t>болдырмайды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278B3D70-954A-4633-BE12-1F69E28E1B9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34569" y="2520364"/>
            <a:ext cx="823031" cy="90863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84798D1-D2E2-435B-9EED-5F70A7DE340A}"/>
              </a:ext>
            </a:extLst>
          </p:cNvPr>
          <p:cNvSpPr txBox="1"/>
          <p:nvPr/>
        </p:nvSpPr>
        <p:spPr>
          <a:xfrm>
            <a:off x="3864472" y="5199017"/>
            <a:ext cx="8022725" cy="64633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dirty="0">
                <a:solidFill>
                  <a:srgbClr val="002060"/>
                </a:solidFill>
              </a:rPr>
              <a:t>ҚҚС </a:t>
            </a:r>
            <a:r>
              <a:rPr lang="ru-RU" dirty="0" err="1">
                <a:solidFill>
                  <a:srgbClr val="002060"/>
                </a:solidFill>
              </a:rPr>
              <a:t>мөлшерлемесі</a:t>
            </a:r>
            <a:r>
              <a:rPr lang="ru-RU" dirty="0">
                <a:solidFill>
                  <a:srgbClr val="002060"/>
                </a:solidFill>
              </a:rPr>
              <a:t> - 12%</a:t>
            </a:r>
          </a:p>
          <a:p>
            <a:pPr marL="625475" indent="-269875">
              <a:buFont typeface="Wingdings" panose="05000000000000000000" pitchFamily="2" charset="2"/>
              <a:buChar char="ü"/>
            </a:pPr>
            <a:r>
              <a:rPr lang="ru-RU" dirty="0" err="1">
                <a:solidFill>
                  <a:srgbClr val="002060"/>
                </a:solidFill>
              </a:rPr>
              <a:t>әлемдегі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ең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төменгі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мөлшерлемелердің</a:t>
            </a:r>
            <a:r>
              <a:rPr lang="ru-RU" dirty="0">
                <a:solidFill>
                  <a:srgbClr val="002060"/>
                </a:solidFill>
              </a:rPr>
              <a:t> </a:t>
            </a:r>
            <a:r>
              <a:rPr lang="ru-RU" dirty="0" err="1">
                <a:solidFill>
                  <a:srgbClr val="002060"/>
                </a:solidFill>
              </a:rPr>
              <a:t>бірі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4284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дың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лпыға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рдей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лгіленген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ртібі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14709" y="1369798"/>
            <a:ext cx="11162582" cy="4231928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0" marR="0" lvl="4" indent="0" algn="ctr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ҚА ТАҚЫРЫПТЫҚ ТЕКСЕРУЛЕРДЕН НЕГІЗГІ АЙЫРМАШЫЛЫҚТАР</a:t>
            </a:r>
          </a:p>
          <a:p>
            <a:pPr marL="0" marR="0" lvl="4" indent="0" algn="ctr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і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еру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яқталғ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не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тап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5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ұмыс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і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ҚҚС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і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ұрақты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ске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ырылмаған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ғдайда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75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ұмыс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ге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ысқартылды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,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ксеру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ш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талған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ңызд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мес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ксеру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і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оқтатылмайды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kk-KZ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</a:t>
            </a:r>
            <a:r>
              <a:rPr kumimoji="0" lang="kk-KZ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әселе тексеріледі: ҚҚС</a:t>
            </a:r>
            <a:r>
              <a:rPr kumimoji="0" lang="kk-KZ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есептеудің дұрыстығы </a:t>
            </a:r>
            <a:r>
              <a:rPr kumimoji="0" lang="kk-KZ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әне</a:t>
            </a:r>
            <a:r>
              <a:rPr kumimoji="0" lang="kk-KZ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қайтаруға </a:t>
            </a:r>
            <a:r>
              <a:rPr kumimoji="0" lang="kk-KZ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</a:t>
            </a:r>
            <a:r>
              <a:rPr kumimoji="0" lang="kk-KZ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растау </a:t>
            </a:r>
          </a:p>
          <a:p>
            <a:pPr marL="625475" marR="0" lvl="4" indent="-35560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рылыс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інде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месе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еологиялық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рлауда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сы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қсаттар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үшін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ығындар</a:t>
            </a:r>
            <a:r>
              <a:rPr kumimoji="0" lang="ru-RU" sz="18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ксеріледі</a:t>
            </a:r>
            <a:endParaRPr kumimoji="0" lang="ru-RU" sz="18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Char char="ü"/>
              <a:tabLst>
                <a:tab pos="10281920" algn="l"/>
              </a:tabLst>
              <a:defRPr/>
            </a:pP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уекелдерді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қару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үйесі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әне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«</a:t>
            </a: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еткізушілер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ирамидасы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 </a:t>
            </a:r>
            <a:r>
              <a: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бі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олданылады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kumimoji="0" lang="ru-RU" sz="8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kk-KZ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 қайтару ережелеріне </a:t>
            </a:r>
            <a:r>
              <a:rPr kumimoji="0" lang="kk-KZ" sz="1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әйкес жүргізіледі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27906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ҚС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дың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ңтайландырған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ртібі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68639" y="1120783"/>
            <a:ext cx="11451183" cy="5286062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олдануғ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қылы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:</a:t>
            </a:r>
          </a:p>
          <a:p>
            <a:pPr marL="808038" marR="0" lvl="4" indent="-268288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өлдік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өлшерем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наты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ткізу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айналымдар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ға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д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ниторингінд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ұрға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;</a:t>
            </a:r>
          </a:p>
          <a:p>
            <a:pPr marL="808038" marR="0" lvl="4" indent="-268288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лға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 -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гер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өлдік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өлшерлем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айналымдар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лпы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йналымның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мінд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50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йызы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раса</a:t>
            </a:r>
            <a:endParaRPr kumimoji="0" lang="ru-RU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4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үгінг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екітілг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ізбелер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р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ниторингт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ұрға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әсіпорындары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ндірушілер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ен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икізат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ҚОТ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олдануғ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ұқылы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3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ізб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</a:p>
          <a:p>
            <a:pPr marL="285750" marR="0" lvl="4" indent="-28575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арттарғ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р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згілд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әйкес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лг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д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ҚҚС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ылуғ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тады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808038" marR="0" lvl="4" indent="-268288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ындалмаға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абарламаның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мауы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үгінгі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і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–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тілігі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ақтылы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ұсынға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зд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;</a:t>
            </a:r>
          </a:p>
          <a:p>
            <a:pPr marL="808038" marR="0" lvl="4" indent="-268288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р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ыл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шінд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ксеру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әтижелері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ға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сталға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ҚҚС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уы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йтару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і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лап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тілге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не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тап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5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ұмыс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і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ейінг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алдыруды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кер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ырып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алық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тілігі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ұсыну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рзімі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яқталға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не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тап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үгінгі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г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.</a:t>
            </a: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әуекелдерд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сқар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үйес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олданылады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4" indent="-28575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ма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ектеулер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оқ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үгінде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рі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үші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70%-дан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пайды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өндірушілер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үші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50%-дан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пайды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икізат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үшін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80%-дан </a:t>
            </a:r>
            <a:r>
              <a:rPr kumimoji="0" lang="ru-RU" b="0" i="1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спайды</a:t>
            </a:r>
            <a:r>
              <a:rPr kumimoji="0" lang="ru-RU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1345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731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кспорт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йналым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салған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үн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әне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ҚҚС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йынша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182563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қосымша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сепке</a:t>
            </a:r>
            <a:r>
              <a:rPr kumimoji="0" lang="ru-RU" sz="2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жатқызу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663879" y="1520667"/>
            <a:ext cx="10847540" cy="36471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4" indent="-34290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уарларғ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рналға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кларацияны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ірке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үн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экспорт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йналым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н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(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зір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уардың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едендік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шекарасы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іс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үзінд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есі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тк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үн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)</a:t>
            </a: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342900" marR="0" lvl="4" indent="-34290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ңада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рылға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ЗТ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ші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ҚҚС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осым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есепк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тқызуды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олдан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еңілдіктер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лы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тасталды, мемлекеттік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іркелг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әттен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астап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ыл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ішінде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–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ңдеу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неркәсібіндегі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ызмет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kumimoji="0" lang="ru-RU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806450" marR="0" lvl="4" indent="-363538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sz="2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4" indent="0" algn="just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514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асталаты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ері</a:t>
            </a:r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3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40082" y="1082456"/>
            <a:ext cx="11711835" cy="52398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салудан босатылған айналымдар тізбесінен мынадай операциялар алынып тасталды:</a:t>
            </a: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 ислам арнайы қаржы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сы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чкалар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е-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н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ырыс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шыл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сын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т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я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қимыл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теринария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л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ту</a:t>
            </a: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е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ын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итариялық-эпидемиология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теринария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КҚ тауарларын, жұмыстарын, қызметтері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Фармация» СК қызметтері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о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вестор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ематография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у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22313" lvl="4" indent="-26987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 ғимаратты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әт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сат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</a:t>
            </a:r>
          </a:p>
        </p:txBody>
      </p:sp>
    </p:spTree>
    <p:extLst>
      <p:ext uri="{BB962C8B-B14F-4D97-AF65-F5344CB8AC3E}">
        <p14:creationId xmlns:p14="http://schemas.microsoft.com/office/powerpoint/2010/main" val="38118769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асталаты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ері</a:t>
            </a:r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4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622346" y="1190567"/>
            <a:ext cx="11311003" cy="48474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ылған импорт тізбесінен:</a:t>
            </a:r>
          </a:p>
          <a:p>
            <a:pPr marL="539750" lvl="4" indent="35560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л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95350" lvl="4" indent="-35560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л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риалд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бдықт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ынтықтауыштар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5350" lvl="4" indent="-35560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теринарияда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л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895350" lvl="4" indent="-35560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АЭО-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қ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ті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д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5350" lvl="4" indent="-35560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н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ысын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5350" lvl="4" indent="-35560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стицидт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мия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т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за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ел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ынып тасталды </a:t>
            </a:r>
          </a:p>
          <a:p>
            <a:pPr marL="53975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5350" lvl="4" indent="-3556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бе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лі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р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лмайд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12789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асталаты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ері</a:t>
            </a:r>
            <a:endParaRPr lang="ru-RU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5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637904" y="1303179"/>
            <a:ext cx="10747332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перациялар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салудан босатылған айналымдар тізбесінен мынадай операциялар:</a:t>
            </a:r>
          </a:p>
          <a:p>
            <a:pPr marL="539750" lvl="4" indent="3556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т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қса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перациялар</a:t>
            </a:r>
          </a:p>
          <a:p>
            <a:pPr marL="539750" lvl="4" indent="3556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лам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і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т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4" indent="3556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ар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лиринг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95350" lvl="4" indent="-3556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точкалары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ктер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ксельдер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озитт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ттар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перациялар</a:t>
            </a:r>
          </a:p>
          <a:p>
            <a:pPr marL="539750" lvl="4" indent="3556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ЖЗ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қтауш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йнетақ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лары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4" indent="3556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МСҚ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взметтері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4" indent="3556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ХҚО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лары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циялар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ынып тасталды</a:t>
            </a:r>
          </a:p>
        </p:txBody>
      </p:sp>
    </p:spTree>
    <p:extLst>
      <p:ext uri="{BB962C8B-B14F-4D97-AF65-F5344CB8AC3E}">
        <p14:creationId xmlns:p14="http://schemas.microsoft.com/office/powerpoint/2010/main" val="1555199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73025"/>
            <a:ext cx="12192000" cy="952144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500" b="1" dirty="0">
                <a:latin typeface="Arial" panose="020B0604020202020204" pitchFamily="34" charset="0"/>
                <a:cs typeface="Arial" panose="020B0604020202020204" pitchFamily="34" charset="0"/>
              </a:rPr>
              <a:t>Салық </a:t>
            </a:r>
            <a:r>
              <a:rPr lang="ru-RU" sz="2500" b="1" dirty="0" err="1">
                <a:latin typeface="Arial" panose="020B0604020202020204" pitchFamily="34" charset="0"/>
                <a:cs typeface="Arial" panose="020B0604020202020204" pitchFamily="34" charset="0"/>
              </a:rPr>
              <a:t>салынбайтын</a:t>
            </a:r>
            <a:r>
              <a:rPr lang="ru-RU" sz="2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500" b="1" dirty="0" err="1">
                <a:latin typeface="Arial" panose="020B0604020202020204" pitchFamily="34" charset="0"/>
                <a:cs typeface="Arial" panose="020B0604020202020204" pitchFamily="34" charset="0"/>
              </a:rPr>
              <a:t>айналым</a:t>
            </a:r>
            <a:endParaRPr lang="ru-RU" sz="25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/>
            <a:r>
              <a:rPr lang="ru-RU" sz="2500" b="1" dirty="0">
                <a:latin typeface="Arial" panose="020B0604020202020204" pitchFamily="34" charset="0"/>
                <a:cs typeface="Arial" panose="020B0604020202020204" pitchFamily="34" charset="0"/>
              </a:rPr>
              <a:t>Салық салудан босатылған </a:t>
            </a:r>
            <a:r>
              <a:rPr lang="ru-RU" sz="2500" b="1" dirty="0" err="1">
                <a:latin typeface="Arial" panose="020B0604020202020204" pitchFamily="34" charset="0"/>
                <a:cs typeface="Arial" panose="020B0604020202020204" pitchFamily="34" charset="0"/>
              </a:rPr>
              <a:t>айналымды</a:t>
            </a:r>
            <a:r>
              <a:rPr lang="ru-RU" sz="2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500" b="1" dirty="0" err="1"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2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500" b="1" dirty="0" err="1">
                <a:latin typeface="Arial" panose="020B0604020202020204" pitchFamily="34" charset="0"/>
                <a:cs typeface="Arial" panose="020B0604020202020204" pitchFamily="34" charset="0"/>
              </a:rPr>
              <a:t>жіктеу</a:t>
            </a:r>
            <a:endParaRPr lang="ru-RU" sz="2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6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03440" y="1204077"/>
            <a:ext cx="11621544" cy="47320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байт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539750" lvl="4" indent="4413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йналымдар</a:t>
            </a:r>
          </a:p>
          <a:p>
            <a:pPr marL="981075" lvl="4" indent="-4413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Р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т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іл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йналымдар</a:t>
            </a:r>
          </a:p>
          <a:p>
            <a:pPr marL="539750" lvl="4" indent="4413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отерея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йналымдар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-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ыла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рын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п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ылмаған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:</a:t>
            </a:r>
          </a:p>
          <a:p>
            <a:pPr marL="539750" lvl="4" indent="4413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ссионерд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гінде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цессия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с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4" indent="4413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ссион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цессия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іс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81075" lvl="4" indent="-4413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КМ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ы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қ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у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у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йындау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ңдеу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алсыздандыру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де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ту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дастырған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ақ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9750" lvl="4" indent="441325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КМ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216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Тұрғын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үйд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7</a:t>
            </a:fld>
            <a:endParaRPr lang="en-US" sz="10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74469" y="1081089"/>
            <a:ext cx="11727876" cy="5686172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1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ұрғын ғимаратты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имаратт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г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-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ыла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н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заматт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ұрғы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с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занда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жеттіліг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Б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ктер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Р 2001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д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аңа тұрғы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д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дан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ш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р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ба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лен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әтерл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д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с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1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к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kk-KZ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ылайш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с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м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мсіз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ңілд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мам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30 млрд.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477CCE8C-F8DE-4366-B74A-551FE4966E13}"/>
              </a:ext>
            </a:extLst>
          </p:cNvPr>
          <p:cNvSpPr/>
          <p:nvPr/>
        </p:nvSpPr>
        <p:spPr>
          <a:xfrm>
            <a:off x="1337708" y="5651864"/>
            <a:ext cx="534636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1ж.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AD5C46E-2AA6-4191-B834-C3E9EDA0D8BF}"/>
              </a:ext>
            </a:extLst>
          </p:cNvPr>
          <p:cNvSpPr/>
          <p:nvPr/>
        </p:nvSpPr>
        <p:spPr>
          <a:xfrm>
            <a:off x="1828800" y="5651864"/>
            <a:ext cx="577030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2ж.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392FD63-AD19-4899-BEF5-8792CE0880A8}"/>
              </a:ext>
            </a:extLst>
          </p:cNvPr>
          <p:cNvSpPr/>
          <p:nvPr/>
        </p:nvSpPr>
        <p:spPr>
          <a:xfrm flipH="1">
            <a:off x="2255518" y="5651864"/>
            <a:ext cx="501233" cy="222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3ж.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AD6FB72-1721-4BB1-893F-E4055DAF1C05}"/>
              </a:ext>
            </a:extLst>
          </p:cNvPr>
          <p:cNvSpPr/>
          <p:nvPr/>
        </p:nvSpPr>
        <p:spPr>
          <a:xfrm>
            <a:off x="2690948" y="5673638"/>
            <a:ext cx="475110" cy="222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4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74240487-CEA3-4D17-AD21-7C540D42CDCF}"/>
              </a:ext>
            </a:extLst>
          </p:cNvPr>
          <p:cNvSpPr/>
          <p:nvPr/>
        </p:nvSpPr>
        <p:spPr>
          <a:xfrm>
            <a:off x="3143793" y="5651864"/>
            <a:ext cx="475111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5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E4C80DC-DDAD-4210-A90A-1BF2E325A9FA}"/>
              </a:ext>
            </a:extLst>
          </p:cNvPr>
          <p:cNvSpPr/>
          <p:nvPr/>
        </p:nvSpPr>
        <p:spPr>
          <a:xfrm>
            <a:off x="3579221" y="5651864"/>
            <a:ext cx="492528" cy="222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6ж.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1BD3428E-C9C4-4B7C-A2F0-D678D8196003}"/>
              </a:ext>
            </a:extLst>
          </p:cNvPr>
          <p:cNvSpPr/>
          <p:nvPr/>
        </p:nvSpPr>
        <p:spPr>
          <a:xfrm>
            <a:off x="3962400" y="5634446"/>
            <a:ext cx="496389" cy="23948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7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604D20F-E506-4860-8E8C-FDEAA0B822C1}"/>
              </a:ext>
            </a:extLst>
          </p:cNvPr>
          <p:cNvSpPr/>
          <p:nvPr/>
        </p:nvSpPr>
        <p:spPr>
          <a:xfrm>
            <a:off x="4348454" y="5651864"/>
            <a:ext cx="475110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8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5950940-21F6-4041-BF29-FFCBC8FBDA86}"/>
              </a:ext>
            </a:extLst>
          </p:cNvPr>
          <p:cNvSpPr/>
          <p:nvPr/>
        </p:nvSpPr>
        <p:spPr>
          <a:xfrm>
            <a:off x="4801299" y="5651864"/>
            <a:ext cx="475109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09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8D0D8786-FE6D-4CE9-8231-DBA8F3FF637A}"/>
              </a:ext>
            </a:extLst>
          </p:cNvPr>
          <p:cNvSpPr/>
          <p:nvPr/>
        </p:nvSpPr>
        <p:spPr>
          <a:xfrm>
            <a:off x="5231880" y="5651864"/>
            <a:ext cx="475111" cy="222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0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42D84AB4-C0EA-4504-9784-F8A4765AC49C}"/>
              </a:ext>
            </a:extLst>
          </p:cNvPr>
          <p:cNvSpPr/>
          <p:nvPr/>
        </p:nvSpPr>
        <p:spPr>
          <a:xfrm>
            <a:off x="5620889" y="5630092"/>
            <a:ext cx="475111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1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8115669-2BF7-488E-9717-FA5A3E52210E}"/>
              </a:ext>
            </a:extLst>
          </p:cNvPr>
          <p:cNvSpPr/>
          <p:nvPr/>
        </p:nvSpPr>
        <p:spPr>
          <a:xfrm>
            <a:off x="6051472" y="5673638"/>
            <a:ext cx="538946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2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A54FCC24-5232-4102-BCF0-4C82636559D4}"/>
              </a:ext>
            </a:extLst>
          </p:cNvPr>
          <p:cNvSpPr/>
          <p:nvPr/>
        </p:nvSpPr>
        <p:spPr>
          <a:xfrm>
            <a:off x="6504316" y="5651864"/>
            <a:ext cx="479958" cy="222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3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CE979F9-C90C-4D42-8501-794916221E71}"/>
              </a:ext>
            </a:extLst>
          </p:cNvPr>
          <p:cNvSpPr/>
          <p:nvPr/>
        </p:nvSpPr>
        <p:spPr>
          <a:xfrm>
            <a:off x="6934898" y="5651864"/>
            <a:ext cx="458679" cy="2002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4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491FA9D1-FDC0-4EFA-A0BA-4CF65B6EF97A}"/>
              </a:ext>
            </a:extLst>
          </p:cNvPr>
          <p:cNvSpPr/>
          <p:nvPr/>
        </p:nvSpPr>
        <p:spPr>
          <a:xfrm>
            <a:off x="7300663" y="5630092"/>
            <a:ext cx="475111" cy="222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5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60AFCFDF-59A7-4955-B6D8-8B20534A37F6}"/>
              </a:ext>
            </a:extLst>
          </p:cNvPr>
          <p:cNvSpPr/>
          <p:nvPr/>
        </p:nvSpPr>
        <p:spPr>
          <a:xfrm>
            <a:off x="7718898" y="5586546"/>
            <a:ext cx="516539" cy="2438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6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E841E39-9888-4FF5-9680-082847341EFF}"/>
              </a:ext>
            </a:extLst>
          </p:cNvPr>
          <p:cNvSpPr/>
          <p:nvPr/>
        </p:nvSpPr>
        <p:spPr>
          <a:xfrm>
            <a:off x="8118283" y="5630092"/>
            <a:ext cx="519634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7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242A94BA-E9E7-4253-8F0C-A477DE3ABC60}"/>
              </a:ext>
            </a:extLst>
          </p:cNvPr>
          <p:cNvSpPr/>
          <p:nvPr/>
        </p:nvSpPr>
        <p:spPr>
          <a:xfrm>
            <a:off x="8614672" y="5630092"/>
            <a:ext cx="476091" cy="222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8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EE03B34-80D0-4EB7-88FF-8775B0A8AB1C}"/>
              </a:ext>
            </a:extLst>
          </p:cNvPr>
          <p:cNvSpPr/>
          <p:nvPr/>
        </p:nvSpPr>
        <p:spPr>
          <a:xfrm>
            <a:off x="9014277" y="5651864"/>
            <a:ext cx="483824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19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03B7BE3E-AABA-4550-AB47-7ADB0B9740AF}"/>
              </a:ext>
            </a:extLst>
          </p:cNvPr>
          <p:cNvSpPr/>
          <p:nvPr/>
        </p:nvSpPr>
        <p:spPr>
          <a:xfrm>
            <a:off x="9390716" y="5630092"/>
            <a:ext cx="538945" cy="222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20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BD682E3B-4166-4329-856B-D64FA04F5B3C}"/>
              </a:ext>
            </a:extLst>
          </p:cNvPr>
          <p:cNvSpPr/>
          <p:nvPr/>
        </p:nvSpPr>
        <p:spPr>
          <a:xfrm>
            <a:off x="9850380" y="5630092"/>
            <a:ext cx="538946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21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CB847965-F291-4EAC-9AFF-A5567794E10F}"/>
              </a:ext>
            </a:extLst>
          </p:cNvPr>
          <p:cNvSpPr/>
          <p:nvPr/>
        </p:nvSpPr>
        <p:spPr>
          <a:xfrm>
            <a:off x="10281939" y="5630092"/>
            <a:ext cx="459665" cy="2002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22ж</a:t>
            </a:r>
            <a:endParaRPr lang="x-none" sz="800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4967B065-CDD7-412C-B258-21AF9260E5D4}"/>
              </a:ext>
            </a:extLst>
          </p:cNvPr>
          <p:cNvSpPr/>
          <p:nvPr/>
        </p:nvSpPr>
        <p:spPr>
          <a:xfrm>
            <a:off x="10667624" y="5630092"/>
            <a:ext cx="538947" cy="222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023ж.</a:t>
            </a:r>
            <a:endParaRPr lang="x-none" sz="800" dirty="0">
              <a:solidFill>
                <a:schemeClr val="tx1"/>
              </a:solidFill>
            </a:endParaRPr>
          </a:p>
        </p:txBody>
      </p:sp>
      <p:graphicFrame>
        <p:nvGraphicFramePr>
          <p:cNvPr id="32" name="Диаграмма 31">
            <a:extLst>
              <a:ext uri="{FF2B5EF4-FFF2-40B4-BE49-F238E27FC236}">
                <a16:creationId xmlns:a16="http://schemas.microsoft.com/office/drawing/2014/main" id="{35A755C4-31B2-47FF-ABA7-40D823D865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1291238"/>
              </p:ext>
            </p:extLst>
          </p:nvPr>
        </p:nvGraphicFramePr>
        <p:xfrm>
          <a:off x="574766" y="2586446"/>
          <a:ext cx="10972800" cy="3021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102001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Тұрғын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үй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астауға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7800"/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өтпел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ережелер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8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92274" y="1210186"/>
            <a:ext cx="4321479" cy="25699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і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-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ыла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lvl="4" indent="-342900" algn="just">
              <a:spcBef>
                <a:spcPts val="900"/>
              </a:spcBef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 ғимаратты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ұрғын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-жай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әтер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indent="-276225" fontAlgn="t"/>
            <a:r>
              <a:rPr lang="ru-RU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жилого здания или жилого помещения (квартиры)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3538" lvl="4" indent="-276225" fontAlgn="t">
              <a:buFont typeface="Wingdings" panose="05000000000000000000" pitchFamily="2" charset="2"/>
              <a:buChar char="ü"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ын ғимаратты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ұрғын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й-жай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әтерді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3">
            <a:extLst>
              <a:ext uri="{FF2B5EF4-FFF2-40B4-BE49-F238E27FC236}">
                <a16:creationId xmlns:a16="http://schemas.microsoft.com/office/drawing/2014/main" id="{98FB048C-595F-4963-8569-089CA78518C4}"/>
              </a:ext>
            </a:extLst>
          </p:cNvPr>
          <p:cNvCxnSpPr>
            <a:cxnSpLocks/>
          </p:cNvCxnSpPr>
          <p:nvPr/>
        </p:nvCxnSpPr>
        <p:spPr>
          <a:xfrm flipV="1">
            <a:off x="4693298" y="1081861"/>
            <a:ext cx="2983" cy="5730816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24E27D0-34AA-46F4-B5A9-B9DD90266212}"/>
              </a:ext>
            </a:extLst>
          </p:cNvPr>
          <p:cNvSpPr/>
          <p:nvPr/>
        </p:nvSpPr>
        <p:spPr>
          <a:xfrm>
            <a:off x="4780001" y="1210186"/>
            <a:ext cx="7119725" cy="43806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95350">
              <a:spcAft>
                <a:spcPts val="800"/>
              </a:spcAft>
              <a:buClr>
                <a:srgbClr val="0070CE"/>
              </a:buClr>
              <a:buSzPct val="100000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тпел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ережелер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285750" indent="-28575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anose="05000000000000000000" pitchFamily="2" charset="2"/>
              <a:buChar char="ü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ҚС-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т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сатылуғ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та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:</a:t>
            </a:r>
          </a:p>
          <a:p>
            <a:pPr marL="808038" indent="-268288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Arial" panose="020B0604020202020204" pitchFamily="34" charset="0"/>
              <a:buChar char="•"/>
              <a:tabLst>
                <a:tab pos="808038" algn="l"/>
              </a:tabLst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рылыс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аст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айдалану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былд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2026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ыл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1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ңтар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й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үзег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сыр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тұрғын ғимаратты (тұрғы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ғимаратт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і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өліг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өткізу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  <a:p>
            <a:pPr marL="808038" indent="-268288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Arial" panose="020B0604020202020204" pitchFamily="34" charset="0"/>
              <a:buChar char="•"/>
              <a:tabLst>
                <a:tab pos="808038" algn="l"/>
              </a:tabLst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2026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ыл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1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аңтар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дей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с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тып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л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қығым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тұрғы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й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ұза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ерзім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лд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шарт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тұрғын ғимаратты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тұрғы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й-жай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әтер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л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беру</a:t>
            </a:r>
          </a:p>
          <a:p>
            <a:pPr marL="342900" indent="-342900" algn="just" defTabSz="895350">
              <a:spcAft>
                <a:spcPts val="800"/>
              </a:spcAft>
              <a:buClr>
                <a:srgbClr val="0070CE"/>
              </a:buClr>
              <a:buSzPct val="100000"/>
              <a:buFont typeface="Wingdings" pitchFamily="2" charset="2"/>
              <a:buChar char="ü"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ҚС-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ыз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саты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лынға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тұрғы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йд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(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әтерд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) сату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кезінд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йналым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мөлшер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сату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н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мен тұрғын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үйд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пәтерд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)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аланст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ұн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расындағ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о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йырмашы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ретінд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айқындалады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37795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Кез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келген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нысандағы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дәрілік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заттарды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ұйымдарды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жеңілдікті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2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600" b="1" dirty="0" err="1">
                <a:latin typeface="Arial" panose="020B0604020202020204" pitchFamily="34" charset="0"/>
                <a:cs typeface="Arial" panose="020B0604020202020204" pitchFamily="34" charset="0"/>
              </a:rPr>
              <a:t>тастау</a:t>
            </a:r>
            <a:endParaRPr lang="en-US" sz="2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9</a:t>
            </a:fld>
            <a:endParaRPr lang="en-US" sz="105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287383" y="995829"/>
            <a:ext cx="11814962" cy="5532284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сату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латы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тердің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-дәрмектердің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імдердің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сын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сер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пейді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сал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андемия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П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т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-дәрмектерме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ме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мтамасыз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армацевтика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асы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ытуғ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шенді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дің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қтығ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дық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затт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елінеті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оненттердің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пас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алар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-дәрмектерг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н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млекеттік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теудің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ліксіздігі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параттардың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72%-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уғ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ті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стем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р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д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П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рд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ыптастыру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дістемесі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н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деге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ызғ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теруг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мкіндік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тіні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стырмал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лдерд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н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йтыны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стем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р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00%-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етіні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әрі-дәрмектер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йымдард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ықтық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да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0-365%-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ғары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ме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ғанын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ап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7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ті</a:t>
            </a:r>
            <a:r>
              <a:rPr lang="ru-RU" sz="17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4" algn="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y &amp;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рттеуі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«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дағы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уіне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10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, 6М2023 </a:t>
            </a:r>
            <a:r>
              <a:rPr lang="ru-RU" sz="10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endParaRPr lang="ru-RU" sz="10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id="{7EE1CAD9-A225-4E46-A843-7BD3492CA1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6481861"/>
              </p:ext>
            </p:extLst>
          </p:nvPr>
        </p:nvGraphicFramePr>
        <p:xfrm>
          <a:off x="689351" y="4203616"/>
          <a:ext cx="11321144" cy="2654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0286">
                  <a:extLst>
                    <a:ext uri="{9D8B030D-6E8A-4147-A177-3AD203B41FA5}">
                      <a16:colId xmlns:a16="http://schemas.microsoft.com/office/drawing/2014/main" val="1931783613"/>
                    </a:ext>
                  </a:extLst>
                </a:gridCol>
                <a:gridCol w="2830286">
                  <a:extLst>
                    <a:ext uri="{9D8B030D-6E8A-4147-A177-3AD203B41FA5}">
                      <a16:colId xmlns:a16="http://schemas.microsoft.com/office/drawing/2014/main" val="147330211"/>
                    </a:ext>
                  </a:extLst>
                </a:gridCol>
                <a:gridCol w="2830286">
                  <a:extLst>
                    <a:ext uri="{9D8B030D-6E8A-4147-A177-3AD203B41FA5}">
                      <a16:colId xmlns:a16="http://schemas.microsoft.com/office/drawing/2014/main" val="1632349853"/>
                    </a:ext>
                  </a:extLst>
                </a:gridCol>
                <a:gridCol w="2830286">
                  <a:extLst>
                    <a:ext uri="{9D8B030D-6E8A-4147-A177-3AD203B41FA5}">
                      <a16:colId xmlns:a16="http://schemas.microsoft.com/office/drawing/2014/main" val="2721291145"/>
                    </a:ext>
                  </a:extLst>
                </a:gridCol>
              </a:tblGrid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2023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жылдың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6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айында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бағасы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ең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жоғары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өсуімен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көзке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err="1">
                          <a:solidFill>
                            <a:schemeClr val="tx1"/>
                          </a:solidFill>
                        </a:rPr>
                        <a:t>түскен</a:t>
                      </a: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 5 препарат</a:t>
                      </a:r>
                      <a:endParaRPr lang="x-none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x-non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x-non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x-non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154855"/>
                  </a:ext>
                </a:extLst>
              </a:tr>
              <a:tr h="319453">
                <a:tc>
                  <a:txBody>
                    <a:bodyPr/>
                    <a:lstStyle/>
                    <a:p>
                      <a:r>
                        <a:rPr lang="ru-RU" sz="1400" b="1" dirty="0"/>
                        <a:t>Препарат</a:t>
                      </a:r>
                      <a:endParaRPr lang="x-none" sz="1400" b="1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err="1"/>
                        <a:t>Қаңтардағы</a:t>
                      </a:r>
                      <a:r>
                        <a:rPr lang="ru-RU" sz="1400" b="1" dirty="0"/>
                        <a:t> </a:t>
                      </a:r>
                      <a:r>
                        <a:rPr lang="ru-RU" sz="1400" b="1" dirty="0" err="1"/>
                        <a:t>бағасы</a:t>
                      </a:r>
                      <a:r>
                        <a:rPr lang="ru-RU" sz="1400" b="1" dirty="0"/>
                        <a:t>, </a:t>
                      </a:r>
                      <a:r>
                        <a:rPr lang="ru-RU" sz="1400" b="1" dirty="0" err="1"/>
                        <a:t>теңге</a:t>
                      </a:r>
                      <a:endParaRPr lang="x-none" sz="1400" b="1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err="1"/>
                        <a:t>Маусым</a:t>
                      </a:r>
                      <a:r>
                        <a:rPr lang="ru-RU" sz="1400" b="1" dirty="0"/>
                        <a:t> </a:t>
                      </a:r>
                      <a:r>
                        <a:rPr lang="ru-RU" sz="1400" b="1" dirty="0" err="1"/>
                        <a:t>айындағы</a:t>
                      </a:r>
                      <a:r>
                        <a:rPr lang="ru-RU" sz="1400" b="1" dirty="0"/>
                        <a:t> </a:t>
                      </a:r>
                      <a:r>
                        <a:rPr lang="ru-RU" sz="1400" b="1" dirty="0" err="1"/>
                        <a:t>бағасы</a:t>
                      </a:r>
                      <a:r>
                        <a:rPr lang="ru-RU" sz="1400" b="1" dirty="0"/>
                        <a:t>, </a:t>
                      </a:r>
                      <a:r>
                        <a:rPr lang="ru-RU" sz="1400" b="1" dirty="0" err="1"/>
                        <a:t>теңге</a:t>
                      </a:r>
                      <a:endParaRPr lang="x-none" sz="1400" b="1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err="1"/>
                        <a:t>Өзгеруі</a:t>
                      </a:r>
                      <a:r>
                        <a:rPr lang="ru-RU" sz="1400" b="1" dirty="0"/>
                        <a:t>, %</a:t>
                      </a:r>
                      <a:endParaRPr lang="x-none" sz="1400" b="1" dirty="0"/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2476941"/>
                  </a:ext>
                </a:extLst>
              </a:tr>
              <a:tr h="319453">
                <a:tc>
                  <a:txBody>
                    <a:bodyPr/>
                    <a:lstStyle/>
                    <a:p>
                      <a:r>
                        <a:rPr lang="ru-RU" sz="1400" dirty="0"/>
                        <a:t>Протаргол </a:t>
                      </a:r>
                      <a:r>
                        <a:rPr lang="ru-RU" sz="1400" dirty="0" err="1"/>
                        <a:t>тамшылары</a:t>
                      </a:r>
                      <a:r>
                        <a:rPr lang="ru-RU" sz="1400" dirty="0"/>
                        <a:t> 1%, 10 мл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369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88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9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641460"/>
                  </a:ext>
                </a:extLst>
              </a:tr>
              <a:tr h="330510">
                <a:tc>
                  <a:txBody>
                    <a:bodyPr/>
                    <a:lstStyle/>
                    <a:p>
                      <a:r>
                        <a:rPr lang="ru-RU" sz="1400" dirty="0" err="1"/>
                        <a:t>Тизин</a:t>
                      </a:r>
                      <a:r>
                        <a:rPr lang="ru-RU" sz="1400" dirty="0"/>
                        <a:t> спрей 0,1%, 10 мл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1257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1949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5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4283050"/>
                  </a:ext>
                </a:extLst>
              </a:tr>
              <a:tr h="543070">
                <a:tc>
                  <a:txBody>
                    <a:bodyPr/>
                    <a:lstStyle/>
                    <a:p>
                      <a:r>
                        <a:rPr lang="ru-RU" sz="1400" dirty="0"/>
                        <a:t>Ибупрофен </a:t>
                      </a:r>
                      <a:r>
                        <a:rPr lang="ru-RU" sz="1400" dirty="0" err="1"/>
                        <a:t>таблеткалары</a:t>
                      </a:r>
                      <a:r>
                        <a:rPr lang="ru-RU" sz="1400" dirty="0"/>
                        <a:t> 200 мг, 10 </a:t>
                      </a:r>
                      <a:r>
                        <a:rPr lang="ru-RU" sz="1400" dirty="0" err="1"/>
                        <a:t>шт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67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103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5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5258896"/>
                  </a:ext>
                </a:extLst>
              </a:tr>
              <a:tr h="418549">
                <a:tc>
                  <a:txBody>
                    <a:bodyPr/>
                    <a:lstStyle/>
                    <a:p>
                      <a:r>
                        <a:rPr lang="ru-RU" sz="1400" dirty="0" err="1"/>
                        <a:t>Цеф</a:t>
                      </a:r>
                      <a:r>
                        <a:rPr lang="ru-RU" sz="1400" dirty="0"/>
                        <a:t> 3 порошок 1000 мг, 1 </a:t>
                      </a:r>
                      <a:r>
                        <a:rPr lang="ru-RU" sz="1400" dirty="0" err="1"/>
                        <a:t>шт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950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1449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3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302599"/>
                  </a:ext>
                </a:extLst>
              </a:tr>
              <a:tr h="418549">
                <a:tc>
                  <a:txBody>
                    <a:bodyPr/>
                    <a:lstStyle/>
                    <a:p>
                      <a:r>
                        <a:rPr lang="ru-RU" sz="1400" dirty="0"/>
                        <a:t>Цитовир-3 сироп 0,15 мг, 50 мл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3879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866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1</a:t>
                      </a:r>
                      <a:endParaRPr lang="x-none" sz="1400" dirty="0"/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12290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51846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842</TotalTime>
  <Words>2432</Words>
  <Application>Microsoft Office PowerPoint</Application>
  <PresentationFormat>Широкоэкранный</PresentationFormat>
  <Paragraphs>337</Paragraphs>
  <Slides>22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2" baseType="lpstr">
      <vt:lpstr>Arial</vt:lpstr>
      <vt:lpstr>Calibri</vt:lpstr>
      <vt:lpstr>Calibri Light</vt:lpstr>
      <vt:lpstr>Century Gothic</vt:lpstr>
      <vt:lpstr>Times New Roman</vt:lpstr>
      <vt:lpstr>Wingdings</vt:lpstr>
      <vt:lpstr>Wingdings 3</vt:lpstr>
      <vt:lpstr>Сектор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Аселгул Таванова</cp:lastModifiedBy>
  <cp:revision>344</cp:revision>
  <cp:lastPrinted>2024-11-07T10:20:03Z</cp:lastPrinted>
  <dcterms:created xsi:type="dcterms:W3CDTF">2024-10-07T12:30:20Z</dcterms:created>
  <dcterms:modified xsi:type="dcterms:W3CDTF">2024-11-08T09:59:17Z</dcterms:modified>
</cp:coreProperties>
</file>